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95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8B14ED-B970-B681-A9EF-A212DCB571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think-cell data - do not delete" hidden="1">
            <a:extLst>
              <a:ext uri="{FF2B5EF4-FFF2-40B4-BE49-F238E27FC236}">
                <a16:creationId xmlns:a16="http://schemas.microsoft.com/office/drawing/2014/main" id="{0C073754-8F9D-3695-6F3D-904BD96281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6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C073754-8F9D-3695-6F3D-904BD96281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126D9A5-0135-1192-578B-6AD93DB3F9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63F618-14FF-E298-F5C6-8954D6D942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CB3E9BC-5C3D-8A4B-BE44-6A2DF75F7BAB}"/>
              </a:ext>
            </a:extLst>
          </p:cNvPr>
          <p:cNvGrpSpPr>
            <a:grpSpLocks/>
          </p:cNvGrpSpPr>
          <p:nvPr/>
        </p:nvGrpSpPr>
        <p:grpSpPr>
          <a:xfrm>
            <a:off x="4257040" y="1790700"/>
            <a:ext cx="3438426" cy="3438426"/>
            <a:chOff x="-5680075" y="950913"/>
            <a:chExt cx="4792662" cy="4819651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7B2265DC-6BFA-0E03-B9EF-C8B15B3C72C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84538" y="950913"/>
              <a:ext cx="1870075" cy="2405063"/>
            </a:xfrm>
            <a:custGeom>
              <a:avLst/>
              <a:gdLst>
                <a:gd name="T0" fmla="*/ 0 w 1178"/>
                <a:gd name="T1" fmla="*/ 0 h 1515"/>
                <a:gd name="T2" fmla="*/ 172 w 1178"/>
                <a:gd name="T3" fmla="*/ 12 h 1515"/>
                <a:gd name="T4" fmla="*/ 338 w 1178"/>
                <a:gd name="T5" fmla="*/ 40 h 1515"/>
                <a:gd name="T6" fmla="*/ 498 w 1178"/>
                <a:gd name="T7" fmla="*/ 86 h 1515"/>
                <a:gd name="T8" fmla="*/ 652 w 1178"/>
                <a:gd name="T9" fmla="*/ 150 h 1515"/>
                <a:gd name="T10" fmla="*/ 801 w 1178"/>
                <a:gd name="T11" fmla="*/ 236 h 1515"/>
                <a:gd name="T12" fmla="*/ 938 w 1178"/>
                <a:gd name="T13" fmla="*/ 333 h 1515"/>
                <a:gd name="T14" fmla="*/ 1064 w 1178"/>
                <a:gd name="T15" fmla="*/ 442 h 1515"/>
                <a:gd name="T16" fmla="*/ 1178 w 1178"/>
                <a:gd name="T17" fmla="*/ 574 h 1515"/>
                <a:gd name="T18" fmla="*/ 0 w 1178"/>
                <a:gd name="T19" fmla="*/ 1515 h 1515"/>
                <a:gd name="T20" fmla="*/ 0 w 1178"/>
                <a:gd name="T21" fmla="*/ 0 h 1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78" h="1515">
                  <a:moveTo>
                    <a:pt x="0" y="0"/>
                  </a:moveTo>
                  <a:lnTo>
                    <a:pt x="172" y="12"/>
                  </a:lnTo>
                  <a:lnTo>
                    <a:pt x="338" y="40"/>
                  </a:lnTo>
                  <a:lnTo>
                    <a:pt x="498" y="86"/>
                  </a:lnTo>
                  <a:lnTo>
                    <a:pt x="652" y="150"/>
                  </a:lnTo>
                  <a:lnTo>
                    <a:pt x="801" y="236"/>
                  </a:lnTo>
                  <a:lnTo>
                    <a:pt x="938" y="333"/>
                  </a:lnTo>
                  <a:lnTo>
                    <a:pt x="1064" y="442"/>
                  </a:lnTo>
                  <a:lnTo>
                    <a:pt x="1178" y="574"/>
                  </a:lnTo>
                  <a:lnTo>
                    <a:pt x="0" y="15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571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3D7AFE84-E5EB-5447-DBB4-699E357FEAE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84538" y="1862138"/>
              <a:ext cx="2397125" cy="2032000"/>
            </a:xfrm>
            <a:custGeom>
              <a:avLst/>
              <a:gdLst>
                <a:gd name="T0" fmla="*/ 1178 w 1510"/>
                <a:gd name="T1" fmla="*/ 0 h 1280"/>
                <a:gd name="T2" fmla="*/ 1281 w 1510"/>
                <a:gd name="T3" fmla="*/ 138 h 1280"/>
                <a:gd name="T4" fmla="*/ 1361 w 1510"/>
                <a:gd name="T5" fmla="*/ 287 h 1280"/>
                <a:gd name="T6" fmla="*/ 1424 w 1510"/>
                <a:gd name="T7" fmla="*/ 442 h 1280"/>
                <a:gd name="T8" fmla="*/ 1470 w 1510"/>
                <a:gd name="T9" fmla="*/ 608 h 1280"/>
                <a:gd name="T10" fmla="*/ 1499 w 1510"/>
                <a:gd name="T11" fmla="*/ 775 h 1280"/>
                <a:gd name="T12" fmla="*/ 1510 w 1510"/>
                <a:gd name="T13" fmla="*/ 941 h 1280"/>
                <a:gd name="T14" fmla="*/ 1499 w 1510"/>
                <a:gd name="T15" fmla="*/ 1113 h 1280"/>
                <a:gd name="T16" fmla="*/ 1470 w 1510"/>
                <a:gd name="T17" fmla="*/ 1280 h 1280"/>
                <a:gd name="T18" fmla="*/ 0 w 1510"/>
                <a:gd name="T19" fmla="*/ 941 h 1280"/>
                <a:gd name="T20" fmla="*/ 1178 w 1510"/>
                <a:gd name="T21" fmla="*/ 0 h 1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10" h="1280">
                  <a:moveTo>
                    <a:pt x="1178" y="0"/>
                  </a:moveTo>
                  <a:lnTo>
                    <a:pt x="1281" y="138"/>
                  </a:lnTo>
                  <a:lnTo>
                    <a:pt x="1361" y="287"/>
                  </a:lnTo>
                  <a:lnTo>
                    <a:pt x="1424" y="442"/>
                  </a:lnTo>
                  <a:lnTo>
                    <a:pt x="1470" y="608"/>
                  </a:lnTo>
                  <a:lnTo>
                    <a:pt x="1499" y="775"/>
                  </a:lnTo>
                  <a:lnTo>
                    <a:pt x="1510" y="941"/>
                  </a:lnTo>
                  <a:lnTo>
                    <a:pt x="1499" y="1113"/>
                  </a:lnTo>
                  <a:lnTo>
                    <a:pt x="1470" y="1280"/>
                  </a:lnTo>
                  <a:lnTo>
                    <a:pt x="0" y="941"/>
                  </a:lnTo>
                  <a:lnTo>
                    <a:pt x="1178" y="0"/>
                  </a:lnTo>
                  <a:close/>
                </a:path>
              </a:pathLst>
            </a:custGeom>
            <a:solidFill>
              <a:schemeClr val="accent2"/>
            </a:solidFill>
            <a:ln w="571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9B31E398-13A0-7E90-4AC8-782546FDAFA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84538" y="3355976"/>
              <a:ext cx="2333625" cy="2168525"/>
            </a:xfrm>
            <a:custGeom>
              <a:avLst/>
              <a:gdLst>
                <a:gd name="T0" fmla="*/ 1470 w 1470"/>
                <a:gd name="T1" fmla="*/ 339 h 1366"/>
                <a:gd name="T2" fmla="*/ 1424 w 1470"/>
                <a:gd name="T3" fmla="*/ 505 h 1366"/>
                <a:gd name="T4" fmla="*/ 1361 w 1470"/>
                <a:gd name="T5" fmla="*/ 660 h 1366"/>
                <a:gd name="T6" fmla="*/ 1276 w 1470"/>
                <a:gd name="T7" fmla="*/ 809 h 1366"/>
                <a:gd name="T8" fmla="*/ 1178 w 1470"/>
                <a:gd name="T9" fmla="*/ 947 h 1366"/>
                <a:gd name="T10" fmla="*/ 1070 w 1470"/>
                <a:gd name="T11" fmla="*/ 1073 h 1366"/>
                <a:gd name="T12" fmla="*/ 944 w 1470"/>
                <a:gd name="T13" fmla="*/ 1188 h 1366"/>
                <a:gd name="T14" fmla="*/ 807 w 1470"/>
                <a:gd name="T15" fmla="*/ 1285 h 1366"/>
                <a:gd name="T16" fmla="*/ 652 w 1470"/>
                <a:gd name="T17" fmla="*/ 1366 h 1366"/>
                <a:gd name="T18" fmla="*/ 0 w 1470"/>
                <a:gd name="T19" fmla="*/ 0 h 1366"/>
                <a:gd name="T20" fmla="*/ 1470 w 1470"/>
                <a:gd name="T21" fmla="*/ 339 h 1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0" h="1366">
                  <a:moveTo>
                    <a:pt x="1470" y="339"/>
                  </a:moveTo>
                  <a:lnTo>
                    <a:pt x="1424" y="505"/>
                  </a:lnTo>
                  <a:lnTo>
                    <a:pt x="1361" y="660"/>
                  </a:lnTo>
                  <a:lnTo>
                    <a:pt x="1276" y="809"/>
                  </a:lnTo>
                  <a:lnTo>
                    <a:pt x="1178" y="947"/>
                  </a:lnTo>
                  <a:lnTo>
                    <a:pt x="1070" y="1073"/>
                  </a:lnTo>
                  <a:lnTo>
                    <a:pt x="944" y="1188"/>
                  </a:lnTo>
                  <a:lnTo>
                    <a:pt x="807" y="1285"/>
                  </a:lnTo>
                  <a:lnTo>
                    <a:pt x="652" y="1366"/>
                  </a:lnTo>
                  <a:lnTo>
                    <a:pt x="0" y="0"/>
                  </a:lnTo>
                  <a:lnTo>
                    <a:pt x="1470" y="339"/>
                  </a:lnTo>
                  <a:close/>
                </a:path>
              </a:pathLst>
            </a:custGeom>
            <a:solidFill>
              <a:schemeClr val="accent3"/>
            </a:solidFill>
            <a:ln w="571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9" name="Freeform 11">
              <a:extLst>
                <a:ext uri="{FF2B5EF4-FFF2-40B4-BE49-F238E27FC236}">
                  <a16:creationId xmlns:a16="http://schemas.microsoft.com/office/drawing/2014/main" id="{E234D282-E640-D406-2499-B7D64BB9FBB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27525" y="3355976"/>
              <a:ext cx="2078038" cy="2414588"/>
            </a:xfrm>
            <a:custGeom>
              <a:avLst/>
              <a:gdLst>
                <a:gd name="T0" fmla="*/ 1309 w 1309"/>
                <a:gd name="T1" fmla="*/ 1366 h 1521"/>
                <a:gd name="T2" fmla="*/ 1155 w 1309"/>
                <a:gd name="T3" fmla="*/ 1435 h 1521"/>
                <a:gd name="T4" fmla="*/ 989 w 1309"/>
                <a:gd name="T5" fmla="*/ 1481 h 1521"/>
                <a:gd name="T6" fmla="*/ 823 w 1309"/>
                <a:gd name="T7" fmla="*/ 1509 h 1521"/>
                <a:gd name="T8" fmla="*/ 657 w 1309"/>
                <a:gd name="T9" fmla="*/ 1521 h 1521"/>
                <a:gd name="T10" fmla="*/ 486 w 1309"/>
                <a:gd name="T11" fmla="*/ 1509 h 1521"/>
                <a:gd name="T12" fmla="*/ 320 w 1309"/>
                <a:gd name="T13" fmla="*/ 1481 h 1521"/>
                <a:gd name="T14" fmla="*/ 160 w 1309"/>
                <a:gd name="T15" fmla="*/ 1435 h 1521"/>
                <a:gd name="T16" fmla="*/ 0 w 1309"/>
                <a:gd name="T17" fmla="*/ 1366 h 1521"/>
                <a:gd name="T18" fmla="*/ 657 w 1309"/>
                <a:gd name="T19" fmla="*/ 0 h 1521"/>
                <a:gd name="T20" fmla="*/ 1309 w 1309"/>
                <a:gd name="T21" fmla="*/ 1366 h 1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09" h="1521">
                  <a:moveTo>
                    <a:pt x="1309" y="1366"/>
                  </a:moveTo>
                  <a:lnTo>
                    <a:pt x="1155" y="1435"/>
                  </a:lnTo>
                  <a:lnTo>
                    <a:pt x="989" y="1481"/>
                  </a:lnTo>
                  <a:lnTo>
                    <a:pt x="823" y="1509"/>
                  </a:lnTo>
                  <a:lnTo>
                    <a:pt x="657" y="1521"/>
                  </a:lnTo>
                  <a:lnTo>
                    <a:pt x="486" y="1509"/>
                  </a:lnTo>
                  <a:lnTo>
                    <a:pt x="320" y="1481"/>
                  </a:lnTo>
                  <a:lnTo>
                    <a:pt x="160" y="1435"/>
                  </a:lnTo>
                  <a:lnTo>
                    <a:pt x="0" y="1366"/>
                  </a:lnTo>
                  <a:lnTo>
                    <a:pt x="657" y="0"/>
                  </a:lnTo>
                  <a:lnTo>
                    <a:pt x="1309" y="1366"/>
                  </a:lnTo>
                  <a:close/>
                </a:path>
              </a:pathLst>
            </a:custGeom>
            <a:solidFill>
              <a:schemeClr val="accent4"/>
            </a:solidFill>
            <a:ln w="571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10" name="Freeform 13">
              <a:extLst>
                <a:ext uri="{FF2B5EF4-FFF2-40B4-BE49-F238E27FC236}">
                  <a16:creationId xmlns:a16="http://schemas.microsoft.com/office/drawing/2014/main" id="{6C8DD892-173D-9F28-0AE4-50C46B6E8A6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26100" y="3355976"/>
              <a:ext cx="2341563" cy="2168525"/>
            </a:xfrm>
            <a:custGeom>
              <a:avLst/>
              <a:gdLst>
                <a:gd name="T0" fmla="*/ 818 w 1475"/>
                <a:gd name="T1" fmla="*/ 1366 h 1366"/>
                <a:gd name="T2" fmla="*/ 669 w 1475"/>
                <a:gd name="T3" fmla="*/ 1285 h 1366"/>
                <a:gd name="T4" fmla="*/ 532 w 1475"/>
                <a:gd name="T5" fmla="*/ 1188 h 1366"/>
                <a:gd name="T6" fmla="*/ 406 w 1475"/>
                <a:gd name="T7" fmla="*/ 1073 h 1366"/>
                <a:gd name="T8" fmla="*/ 292 w 1475"/>
                <a:gd name="T9" fmla="*/ 947 h 1366"/>
                <a:gd name="T10" fmla="*/ 194 w 1475"/>
                <a:gd name="T11" fmla="*/ 809 h 1366"/>
                <a:gd name="T12" fmla="*/ 114 w 1475"/>
                <a:gd name="T13" fmla="*/ 660 h 1366"/>
                <a:gd name="T14" fmla="*/ 51 w 1475"/>
                <a:gd name="T15" fmla="*/ 505 h 1366"/>
                <a:gd name="T16" fmla="*/ 0 w 1475"/>
                <a:gd name="T17" fmla="*/ 339 h 1366"/>
                <a:gd name="T18" fmla="*/ 1475 w 1475"/>
                <a:gd name="T19" fmla="*/ 0 h 1366"/>
                <a:gd name="T20" fmla="*/ 818 w 1475"/>
                <a:gd name="T21" fmla="*/ 1366 h 1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5" h="1366">
                  <a:moveTo>
                    <a:pt x="818" y="1366"/>
                  </a:moveTo>
                  <a:lnTo>
                    <a:pt x="669" y="1285"/>
                  </a:lnTo>
                  <a:lnTo>
                    <a:pt x="532" y="1188"/>
                  </a:lnTo>
                  <a:lnTo>
                    <a:pt x="406" y="1073"/>
                  </a:lnTo>
                  <a:lnTo>
                    <a:pt x="292" y="947"/>
                  </a:lnTo>
                  <a:lnTo>
                    <a:pt x="194" y="809"/>
                  </a:lnTo>
                  <a:lnTo>
                    <a:pt x="114" y="660"/>
                  </a:lnTo>
                  <a:lnTo>
                    <a:pt x="51" y="505"/>
                  </a:lnTo>
                  <a:lnTo>
                    <a:pt x="0" y="339"/>
                  </a:lnTo>
                  <a:lnTo>
                    <a:pt x="1475" y="0"/>
                  </a:lnTo>
                  <a:lnTo>
                    <a:pt x="818" y="1366"/>
                  </a:lnTo>
                  <a:close/>
                </a:path>
              </a:pathLst>
            </a:custGeom>
            <a:solidFill>
              <a:schemeClr val="accent5"/>
            </a:solidFill>
            <a:ln w="571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11" name="Freeform 15">
              <a:extLst>
                <a:ext uri="{FF2B5EF4-FFF2-40B4-BE49-F238E27FC236}">
                  <a16:creationId xmlns:a16="http://schemas.microsoft.com/office/drawing/2014/main" id="{F0F3C6C8-38AE-EA39-8B49-001FD8D336F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80075" y="1862138"/>
              <a:ext cx="2395538" cy="2032000"/>
            </a:xfrm>
            <a:custGeom>
              <a:avLst/>
              <a:gdLst>
                <a:gd name="T0" fmla="*/ 34 w 1509"/>
                <a:gd name="T1" fmla="*/ 1280 h 1280"/>
                <a:gd name="T2" fmla="*/ 5 w 1509"/>
                <a:gd name="T3" fmla="*/ 1113 h 1280"/>
                <a:gd name="T4" fmla="*/ 0 w 1509"/>
                <a:gd name="T5" fmla="*/ 941 h 1280"/>
                <a:gd name="T6" fmla="*/ 5 w 1509"/>
                <a:gd name="T7" fmla="*/ 775 h 1280"/>
                <a:gd name="T8" fmla="*/ 34 w 1509"/>
                <a:gd name="T9" fmla="*/ 608 h 1280"/>
                <a:gd name="T10" fmla="*/ 80 w 1509"/>
                <a:gd name="T11" fmla="*/ 442 h 1280"/>
                <a:gd name="T12" fmla="*/ 148 w 1509"/>
                <a:gd name="T13" fmla="*/ 287 h 1280"/>
                <a:gd name="T14" fmla="*/ 228 w 1509"/>
                <a:gd name="T15" fmla="*/ 138 h 1280"/>
                <a:gd name="T16" fmla="*/ 326 w 1509"/>
                <a:gd name="T17" fmla="*/ 0 h 1280"/>
                <a:gd name="T18" fmla="*/ 1509 w 1509"/>
                <a:gd name="T19" fmla="*/ 941 h 1280"/>
                <a:gd name="T20" fmla="*/ 34 w 1509"/>
                <a:gd name="T21" fmla="*/ 1280 h 1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09" h="1280">
                  <a:moveTo>
                    <a:pt x="34" y="1280"/>
                  </a:moveTo>
                  <a:lnTo>
                    <a:pt x="5" y="1113"/>
                  </a:lnTo>
                  <a:lnTo>
                    <a:pt x="0" y="941"/>
                  </a:lnTo>
                  <a:lnTo>
                    <a:pt x="5" y="775"/>
                  </a:lnTo>
                  <a:lnTo>
                    <a:pt x="34" y="608"/>
                  </a:lnTo>
                  <a:lnTo>
                    <a:pt x="80" y="442"/>
                  </a:lnTo>
                  <a:lnTo>
                    <a:pt x="148" y="287"/>
                  </a:lnTo>
                  <a:lnTo>
                    <a:pt x="228" y="138"/>
                  </a:lnTo>
                  <a:lnTo>
                    <a:pt x="326" y="0"/>
                  </a:lnTo>
                  <a:lnTo>
                    <a:pt x="1509" y="941"/>
                  </a:lnTo>
                  <a:lnTo>
                    <a:pt x="34" y="1280"/>
                  </a:lnTo>
                  <a:close/>
                </a:path>
              </a:pathLst>
            </a:custGeom>
            <a:solidFill>
              <a:schemeClr val="tx2"/>
            </a:solidFill>
            <a:ln w="571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F3C79135-BF0F-9CE0-1EB1-8FB251893DD2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62550" y="950913"/>
              <a:ext cx="1878013" cy="2405063"/>
            </a:xfrm>
            <a:custGeom>
              <a:avLst/>
              <a:gdLst>
                <a:gd name="T0" fmla="*/ 0 w 1183"/>
                <a:gd name="T1" fmla="*/ 574 h 1515"/>
                <a:gd name="T2" fmla="*/ 114 w 1183"/>
                <a:gd name="T3" fmla="*/ 442 h 1515"/>
                <a:gd name="T4" fmla="*/ 240 w 1183"/>
                <a:gd name="T5" fmla="*/ 333 h 1515"/>
                <a:gd name="T6" fmla="*/ 377 w 1183"/>
                <a:gd name="T7" fmla="*/ 236 h 1515"/>
                <a:gd name="T8" fmla="*/ 526 w 1183"/>
                <a:gd name="T9" fmla="*/ 150 h 1515"/>
                <a:gd name="T10" fmla="*/ 680 w 1183"/>
                <a:gd name="T11" fmla="*/ 86 h 1515"/>
                <a:gd name="T12" fmla="*/ 846 w 1183"/>
                <a:gd name="T13" fmla="*/ 40 h 1515"/>
                <a:gd name="T14" fmla="*/ 1012 w 1183"/>
                <a:gd name="T15" fmla="*/ 12 h 1515"/>
                <a:gd name="T16" fmla="*/ 1183 w 1183"/>
                <a:gd name="T17" fmla="*/ 0 h 1515"/>
                <a:gd name="T18" fmla="*/ 1183 w 1183"/>
                <a:gd name="T19" fmla="*/ 1515 h 1515"/>
                <a:gd name="T20" fmla="*/ 0 w 1183"/>
                <a:gd name="T21" fmla="*/ 574 h 1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83" h="1515">
                  <a:moveTo>
                    <a:pt x="0" y="574"/>
                  </a:moveTo>
                  <a:lnTo>
                    <a:pt x="114" y="442"/>
                  </a:lnTo>
                  <a:lnTo>
                    <a:pt x="240" y="333"/>
                  </a:lnTo>
                  <a:lnTo>
                    <a:pt x="377" y="236"/>
                  </a:lnTo>
                  <a:lnTo>
                    <a:pt x="526" y="150"/>
                  </a:lnTo>
                  <a:lnTo>
                    <a:pt x="680" y="86"/>
                  </a:lnTo>
                  <a:lnTo>
                    <a:pt x="846" y="40"/>
                  </a:lnTo>
                  <a:lnTo>
                    <a:pt x="1012" y="12"/>
                  </a:lnTo>
                  <a:lnTo>
                    <a:pt x="1183" y="0"/>
                  </a:lnTo>
                  <a:lnTo>
                    <a:pt x="1183" y="1515"/>
                  </a:lnTo>
                  <a:lnTo>
                    <a:pt x="0" y="574"/>
                  </a:lnTo>
                  <a:close/>
                </a:path>
              </a:pathLst>
            </a:custGeom>
            <a:solidFill>
              <a:schemeClr val="accent2"/>
            </a:solidFill>
            <a:ln w="57150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</p:grpSp>
      <p:sp>
        <p:nvSpPr>
          <p:cNvPr id="13" name="Freeform 5">
            <a:extLst>
              <a:ext uri="{FF2B5EF4-FFF2-40B4-BE49-F238E27FC236}">
                <a16:creationId xmlns:a16="http://schemas.microsoft.com/office/drawing/2014/main" id="{45FE3F63-4675-83BB-FF10-577BF46632AC}"/>
              </a:ext>
            </a:extLst>
          </p:cNvPr>
          <p:cNvSpPr>
            <a:spLocks/>
          </p:cNvSpPr>
          <p:nvPr/>
        </p:nvSpPr>
        <p:spPr bwMode="auto">
          <a:xfrm>
            <a:off x="6006301" y="2188287"/>
            <a:ext cx="1030345" cy="1319015"/>
          </a:xfrm>
          <a:custGeom>
            <a:avLst/>
            <a:gdLst>
              <a:gd name="T0" fmla="*/ 0 w 1178"/>
              <a:gd name="T1" fmla="*/ 0 h 1515"/>
              <a:gd name="T2" fmla="*/ 172 w 1178"/>
              <a:gd name="T3" fmla="*/ 12 h 1515"/>
              <a:gd name="T4" fmla="*/ 338 w 1178"/>
              <a:gd name="T5" fmla="*/ 40 h 1515"/>
              <a:gd name="T6" fmla="*/ 498 w 1178"/>
              <a:gd name="T7" fmla="*/ 86 h 1515"/>
              <a:gd name="T8" fmla="*/ 652 w 1178"/>
              <a:gd name="T9" fmla="*/ 150 h 1515"/>
              <a:gd name="T10" fmla="*/ 801 w 1178"/>
              <a:gd name="T11" fmla="*/ 236 h 1515"/>
              <a:gd name="T12" fmla="*/ 938 w 1178"/>
              <a:gd name="T13" fmla="*/ 333 h 1515"/>
              <a:gd name="T14" fmla="*/ 1064 w 1178"/>
              <a:gd name="T15" fmla="*/ 442 h 1515"/>
              <a:gd name="T16" fmla="*/ 1178 w 1178"/>
              <a:gd name="T17" fmla="*/ 574 h 1515"/>
              <a:gd name="T18" fmla="*/ 0 w 1178"/>
              <a:gd name="T19" fmla="*/ 1515 h 1515"/>
              <a:gd name="T20" fmla="*/ 0 w 1178"/>
              <a:gd name="T21" fmla="*/ 0 h 15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178" h="1515">
                <a:moveTo>
                  <a:pt x="0" y="0"/>
                </a:moveTo>
                <a:lnTo>
                  <a:pt x="172" y="12"/>
                </a:lnTo>
                <a:lnTo>
                  <a:pt x="338" y="40"/>
                </a:lnTo>
                <a:lnTo>
                  <a:pt x="498" y="86"/>
                </a:lnTo>
                <a:lnTo>
                  <a:pt x="652" y="150"/>
                </a:lnTo>
                <a:lnTo>
                  <a:pt x="801" y="236"/>
                </a:lnTo>
                <a:lnTo>
                  <a:pt x="938" y="333"/>
                </a:lnTo>
                <a:lnTo>
                  <a:pt x="1064" y="442"/>
                </a:lnTo>
                <a:lnTo>
                  <a:pt x="1178" y="574"/>
                </a:lnTo>
                <a:lnTo>
                  <a:pt x="0" y="1515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571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sp>
        <p:nvSpPr>
          <p:cNvPr id="14" name="Freeform 7">
            <a:extLst>
              <a:ext uri="{FF2B5EF4-FFF2-40B4-BE49-F238E27FC236}">
                <a16:creationId xmlns:a16="http://schemas.microsoft.com/office/drawing/2014/main" id="{AECA8388-2AEA-3F03-FB6C-F650202ED1A1}"/>
              </a:ext>
            </a:extLst>
          </p:cNvPr>
          <p:cNvSpPr>
            <a:spLocks/>
          </p:cNvSpPr>
          <p:nvPr/>
        </p:nvSpPr>
        <p:spPr bwMode="auto">
          <a:xfrm>
            <a:off x="6006301" y="2688032"/>
            <a:ext cx="1320731" cy="1114415"/>
          </a:xfrm>
          <a:custGeom>
            <a:avLst/>
            <a:gdLst>
              <a:gd name="T0" fmla="*/ 1178 w 1510"/>
              <a:gd name="T1" fmla="*/ 0 h 1280"/>
              <a:gd name="T2" fmla="*/ 1281 w 1510"/>
              <a:gd name="T3" fmla="*/ 138 h 1280"/>
              <a:gd name="T4" fmla="*/ 1361 w 1510"/>
              <a:gd name="T5" fmla="*/ 287 h 1280"/>
              <a:gd name="T6" fmla="*/ 1424 w 1510"/>
              <a:gd name="T7" fmla="*/ 442 h 1280"/>
              <a:gd name="T8" fmla="*/ 1470 w 1510"/>
              <a:gd name="T9" fmla="*/ 608 h 1280"/>
              <a:gd name="T10" fmla="*/ 1499 w 1510"/>
              <a:gd name="T11" fmla="*/ 775 h 1280"/>
              <a:gd name="T12" fmla="*/ 1510 w 1510"/>
              <a:gd name="T13" fmla="*/ 941 h 1280"/>
              <a:gd name="T14" fmla="*/ 1499 w 1510"/>
              <a:gd name="T15" fmla="*/ 1113 h 1280"/>
              <a:gd name="T16" fmla="*/ 1470 w 1510"/>
              <a:gd name="T17" fmla="*/ 1280 h 1280"/>
              <a:gd name="T18" fmla="*/ 0 w 1510"/>
              <a:gd name="T19" fmla="*/ 941 h 1280"/>
              <a:gd name="T20" fmla="*/ 1178 w 1510"/>
              <a:gd name="T21" fmla="*/ 0 h 12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510" h="1280">
                <a:moveTo>
                  <a:pt x="1178" y="0"/>
                </a:moveTo>
                <a:lnTo>
                  <a:pt x="1281" y="138"/>
                </a:lnTo>
                <a:lnTo>
                  <a:pt x="1361" y="287"/>
                </a:lnTo>
                <a:lnTo>
                  <a:pt x="1424" y="442"/>
                </a:lnTo>
                <a:lnTo>
                  <a:pt x="1470" y="608"/>
                </a:lnTo>
                <a:lnTo>
                  <a:pt x="1499" y="775"/>
                </a:lnTo>
                <a:lnTo>
                  <a:pt x="1510" y="941"/>
                </a:lnTo>
                <a:lnTo>
                  <a:pt x="1499" y="1113"/>
                </a:lnTo>
                <a:lnTo>
                  <a:pt x="1470" y="1280"/>
                </a:lnTo>
                <a:lnTo>
                  <a:pt x="0" y="941"/>
                </a:lnTo>
                <a:lnTo>
                  <a:pt x="1178" y="0"/>
                </a:lnTo>
                <a:close/>
              </a:path>
            </a:pathLst>
          </a:custGeom>
          <a:solidFill>
            <a:schemeClr val="bg1"/>
          </a:solidFill>
          <a:ln w="571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sp>
        <p:nvSpPr>
          <p:cNvPr id="15" name="Freeform 9">
            <a:extLst>
              <a:ext uri="{FF2B5EF4-FFF2-40B4-BE49-F238E27FC236}">
                <a16:creationId xmlns:a16="http://schemas.microsoft.com/office/drawing/2014/main" id="{4A8B9B72-6AC2-0C10-0F0E-61A38132C14B}"/>
              </a:ext>
            </a:extLst>
          </p:cNvPr>
          <p:cNvSpPr>
            <a:spLocks/>
          </p:cNvSpPr>
          <p:nvPr/>
        </p:nvSpPr>
        <p:spPr bwMode="auto">
          <a:xfrm>
            <a:off x="5975816" y="3507302"/>
            <a:ext cx="1285746" cy="1189290"/>
          </a:xfrm>
          <a:custGeom>
            <a:avLst/>
            <a:gdLst>
              <a:gd name="T0" fmla="*/ 1470 w 1470"/>
              <a:gd name="T1" fmla="*/ 339 h 1366"/>
              <a:gd name="T2" fmla="*/ 1424 w 1470"/>
              <a:gd name="T3" fmla="*/ 505 h 1366"/>
              <a:gd name="T4" fmla="*/ 1361 w 1470"/>
              <a:gd name="T5" fmla="*/ 660 h 1366"/>
              <a:gd name="T6" fmla="*/ 1276 w 1470"/>
              <a:gd name="T7" fmla="*/ 809 h 1366"/>
              <a:gd name="T8" fmla="*/ 1178 w 1470"/>
              <a:gd name="T9" fmla="*/ 947 h 1366"/>
              <a:gd name="T10" fmla="*/ 1070 w 1470"/>
              <a:gd name="T11" fmla="*/ 1073 h 1366"/>
              <a:gd name="T12" fmla="*/ 944 w 1470"/>
              <a:gd name="T13" fmla="*/ 1188 h 1366"/>
              <a:gd name="T14" fmla="*/ 807 w 1470"/>
              <a:gd name="T15" fmla="*/ 1285 h 1366"/>
              <a:gd name="T16" fmla="*/ 652 w 1470"/>
              <a:gd name="T17" fmla="*/ 1366 h 1366"/>
              <a:gd name="T18" fmla="*/ 0 w 1470"/>
              <a:gd name="T19" fmla="*/ 0 h 1366"/>
              <a:gd name="T20" fmla="*/ 1470 w 1470"/>
              <a:gd name="T21" fmla="*/ 339 h 1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470" h="1366">
                <a:moveTo>
                  <a:pt x="1470" y="339"/>
                </a:moveTo>
                <a:lnTo>
                  <a:pt x="1424" y="505"/>
                </a:lnTo>
                <a:lnTo>
                  <a:pt x="1361" y="660"/>
                </a:lnTo>
                <a:lnTo>
                  <a:pt x="1276" y="809"/>
                </a:lnTo>
                <a:lnTo>
                  <a:pt x="1178" y="947"/>
                </a:lnTo>
                <a:lnTo>
                  <a:pt x="1070" y="1073"/>
                </a:lnTo>
                <a:lnTo>
                  <a:pt x="944" y="1188"/>
                </a:lnTo>
                <a:lnTo>
                  <a:pt x="807" y="1285"/>
                </a:lnTo>
                <a:lnTo>
                  <a:pt x="652" y="1366"/>
                </a:lnTo>
                <a:lnTo>
                  <a:pt x="0" y="0"/>
                </a:lnTo>
                <a:lnTo>
                  <a:pt x="1470" y="339"/>
                </a:lnTo>
                <a:close/>
              </a:path>
            </a:pathLst>
          </a:custGeom>
          <a:solidFill>
            <a:schemeClr val="bg1"/>
          </a:solidFill>
          <a:ln w="571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sp>
        <p:nvSpPr>
          <p:cNvPr id="16" name="Freeform 11">
            <a:extLst>
              <a:ext uri="{FF2B5EF4-FFF2-40B4-BE49-F238E27FC236}">
                <a16:creationId xmlns:a16="http://schemas.microsoft.com/office/drawing/2014/main" id="{3EA8CDAC-E7D2-DA5A-FC6C-E070D1D73650}"/>
              </a:ext>
            </a:extLst>
          </p:cNvPr>
          <p:cNvSpPr>
            <a:spLocks/>
          </p:cNvSpPr>
          <p:nvPr/>
        </p:nvSpPr>
        <p:spPr bwMode="auto">
          <a:xfrm>
            <a:off x="5401167" y="3507302"/>
            <a:ext cx="1144926" cy="1324238"/>
          </a:xfrm>
          <a:custGeom>
            <a:avLst/>
            <a:gdLst>
              <a:gd name="T0" fmla="*/ 1309 w 1309"/>
              <a:gd name="T1" fmla="*/ 1366 h 1521"/>
              <a:gd name="T2" fmla="*/ 1155 w 1309"/>
              <a:gd name="T3" fmla="*/ 1435 h 1521"/>
              <a:gd name="T4" fmla="*/ 989 w 1309"/>
              <a:gd name="T5" fmla="*/ 1481 h 1521"/>
              <a:gd name="T6" fmla="*/ 823 w 1309"/>
              <a:gd name="T7" fmla="*/ 1509 h 1521"/>
              <a:gd name="T8" fmla="*/ 657 w 1309"/>
              <a:gd name="T9" fmla="*/ 1521 h 1521"/>
              <a:gd name="T10" fmla="*/ 486 w 1309"/>
              <a:gd name="T11" fmla="*/ 1509 h 1521"/>
              <a:gd name="T12" fmla="*/ 320 w 1309"/>
              <a:gd name="T13" fmla="*/ 1481 h 1521"/>
              <a:gd name="T14" fmla="*/ 160 w 1309"/>
              <a:gd name="T15" fmla="*/ 1435 h 1521"/>
              <a:gd name="T16" fmla="*/ 0 w 1309"/>
              <a:gd name="T17" fmla="*/ 1366 h 1521"/>
              <a:gd name="T18" fmla="*/ 657 w 1309"/>
              <a:gd name="T19" fmla="*/ 0 h 1521"/>
              <a:gd name="T20" fmla="*/ 1309 w 1309"/>
              <a:gd name="T21" fmla="*/ 1366 h 15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309" h="1521">
                <a:moveTo>
                  <a:pt x="1309" y="1366"/>
                </a:moveTo>
                <a:lnTo>
                  <a:pt x="1155" y="1435"/>
                </a:lnTo>
                <a:lnTo>
                  <a:pt x="989" y="1481"/>
                </a:lnTo>
                <a:lnTo>
                  <a:pt x="823" y="1509"/>
                </a:lnTo>
                <a:lnTo>
                  <a:pt x="657" y="1521"/>
                </a:lnTo>
                <a:lnTo>
                  <a:pt x="486" y="1509"/>
                </a:lnTo>
                <a:lnTo>
                  <a:pt x="320" y="1481"/>
                </a:lnTo>
                <a:lnTo>
                  <a:pt x="160" y="1435"/>
                </a:lnTo>
                <a:lnTo>
                  <a:pt x="0" y="1366"/>
                </a:lnTo>
                <a:lnTo>
                  <a:pt x="657" y="0"/>
                </a:lnTo>
                <a:lnTo>
                  <a:pt x="1309" y="1366"/>
                </a:lnTo>
                <a:close/>
              </a:path>
            </a:pathLst>
          </a:custGeom>
          <a:solidFill>
            <a:schemeClr val="bg1"/>
          </a:solidFill>
          <a:ln w="571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sp>
        <p:nvSpPr>
          <p:cNvPr id="17" name="Freeform 13">
            <a:extLst>
              <a:ext uri="{FF2B5EF4-FFF2-40B4-BE49-F238E27FC236}">
                <a16:creationId xmlns:a16="http://schemas.microsoft.com/office/drawing/2014/main" id="{927032D8-ECC3-C804-6F63-73499D332368}"/>
              </a:ext>
            </a:extLst>
          </p:cNvPr>
          <p:cNvSpPr>
            <a:spLocks/>
          </p:cNvSpPr>
          <p:nvPr/>
        </p:nvSpPr>
        <p:spPr bwMode="auto">
          <a:xfrm>
            <a:off x="4716182" y="3507302"/>
            <a:ext cx="1290119" cy="1189290"/>
          </a:xfrm>
          <a:custGeom>
            <a:avLst/>
            <a:gdLst>
              <a:gd name="T0" fmla="*/ 818 w 1475"/>
              <a:gd name="T1" fmla="*/ 1366 h 1366"/>
              <a:gd name="T2" fmla="*/ 669 w 1475"/>
              <a:gd name="T3" fmla="*/ 1285 h 1366"/>
              <a:gd name="T4" fmla="*/ 532 w 1475"/>
              <a:gd name="T5" fmla="*/ 1188 h 1366"/>
              <a:gd name="T6" fmla="*/ 406 w 1475"/>
              <a:gd name="T7" fmla="*/ 1073 h 1366"/>
              <a:gd name="T8" fmla="*/ 292 w 1475"/>
              <a:gd name="T9" fmla="*/ 947 h 1366"/>
              <a:gd name="T10" fmla="*/ 194 w 1475"/>
              <a:gd name="T11" fmla="*/ 809 h 1366"/>
              <a:gd name="T12" fmla="*/ 114 w 1475"/>
              <a:gd name="T13" fmla="*/ 660 h 1366"/>
              <a:gd name="T14" fmla="*/ 51 w 1475"/>
              <a:gd name="T15" fmla="*/ 505 h 1366"/>
              <a:gd name="T16" fmla="*/ 0 w 1475"/>
              <a:gd name="T17" fmla="*/ 339 h 1366"/>
              <a:gd name="T18" fmla="*/ 1475 w 1475"/>
              <a:gd name="T19" fmla="*/ 0 h 1366"/>
              <a:gd name="T20" fmla="*/ 818 w 1475"/>
              <a:gd name="T21" fmla="*/ 1366 h 1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475" h="1366">
                <a:moveTo>
                  <a:pt x="818" y="1366"/>
                </a:moveTo>
                <a:lnTo>
                  <a:pt x="669" y="1285"/>
                </a:lnTo>
                <a:lnTo>
                  <a:pt x="532" y="1188"/>
                </a:lnTo>
                <a:lnTo>
                  <a:pt x="406" y="1073"/>
                </a:lnTo>
                <a:lnTo>
                  <a:pt x="292" y="947"/>
                </a:lnTo>
                <a:lnTo>
                  <a:pt x="194" y="809"/>
                </a:lnTo>
                <a:lnTo>
                  <a:pt x="114" y="660"/>
                </a:lnTo>
                <a:lnTo>
                  <a:pt x="51" y="505"/>
                </a:lnTo>
                <a:lnTo>
                  <a:pt x="0" y="339"/>
                </a:lnTo>
                <a:lnTo>
                  <a:pt x="1475" y="0"/>
                </a:lnTo>
                <a:lnTo>
                  <a:pt x="818" y="1366"/>
                </a:lnTo>
                <a:close/>
              </a:path>
            </a:pathLst>
          </a:custGeom>
          <a:solidFill>
            <a:schemeClr val="bg1"/>
          </a:solidFill>
          <a:ln w="571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sp>
        <p:nvSpPr>
          <p:cNvPr id="18" name="Freeform 15">
            <a:extLst>
              <a:ext uri="{FF2B5EF4-FFF2-40B4-BE49-F238E27FC236}">
                <a16:creationId xmlns:a16="http://schemas.microsoft.com/office/drawing/2014/main" id="{4382D87E-198F-7D37-2664-1650FAACB29F}"/>
              </a:ext>
            </a:extLst>
          </p:cNvPr>
          <p:cNvSpPr>
            <a:spLocks/>
          </p:cNvSpPr>
          <p:nvPr/>
        </p:nvSpPr>
        <p:spPr bwMode="auto">
          <a:xfrm>
            <a:off x="4686444" y="2688032"/>
            <a:ext cx="1319857" cy="1114415"/>
          </a:xfrm>
          <a:custGeom>
            <a:avLst/>
            <a:gdLst>
              <a:gd name="T0" fmla="*/ 34 w 1509"/>
              <a:gd name="T1" fmla="*/ 1280 h 1280"/>
              <a:gd name="T2" fmla="*/ 5 w 1509"/>
              <a:gd name="T3" fmla="*/ 1113 h 1280"/>
              <a:gd name="T4" fmla="*/ 0 w 1509"/>
              <a:gd name="T5" fmla="*/ 941 h 1280"/>
              <a:gd name="T6" fmla="*/ 5 w 1509"/>
              <a:gd name="T7" fmla="*/ 775 h 1280"/>
              <a:gd name="T8" fmla="*/ 34 w 1509"/>
              <a:gd name="T9" fmla="*/ 608 h 1280"/>
              <a:gd name="T10" fmla="*/ 80 w 1509"/>
              <a:gd name="T11" fmla="*/ 442 h 1280"/>
              <a:gd name="T12" fmla="*/ 148 w 1509"/>
              <a:gd name="T13" fmla="*/ 287 h 1280"/>
              <a:gd name="T14" fmla="*/ 228 w 1509"/>
              <a:gd name="T15" fmla="*/ 138 h 1280"/>
              <a:gd name="T16" fmla="*/ 326 w 1509"/>
              <a:gd name="T17" fmla="*/ 0 h 1280"/>
              <a:gd name="T18" fmla="*/ 1509 w 1509"/>
              <a:gd name="T19" fmla="*/ 941 h 1280"/>
              <a:gd name="T20" fmla="*/ 34 w 1509"/>
              <a:gd name="T21" fmla="*/ 1280 h 12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509" h="1280">
                <a:moveTo>
                  <a:pt x="34" y="1280"/>
                </a:moveTo>
                <a:lnTo>
                  <a:pt x="5" y="1113"/>
                </a:lnTo>
                <a:lnTo>
                  <a:pt x="0" y="941"/>
                </a:lnTo>
                <a:lnTo>
                  <a:pt x="5" y="775"/>
                </a:lnTo>
                <a:lnTo>
                  <a:pt x="34" y="608"/>
                </a:lnTo>
                <a:lnTo>
                  <a:pt x="80" y="442"/>
                </a:lnTo>
                <a:lnTo>
                  <a:pt x="148" y="287"/>
                </a:lnTo>
                <a:lnTo>
                  <a:pt x="228" y="138"/>
                </a:lnTo>
                <a:lnTo>
                  <a:pt x="326" y="0"/>
                </a:lnTo>
                <a:lnTo>
                  <a:pt x="1509" y="941"/>
                </a:lnTo>
                <a:lnTo>
                  <a:pt x="34" y="1280"/>
                </a:lnTo>
                <a:close/>
              </a:path>
            </a:pathLst>
          </a:custGeom>
          <a:solidFill>
            <a:schemeClr val="bg1"/>
          </a:solidFill>
          <a:ln w="571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sp>
        <p:nvSpPr>
          <p:cNvPr id="19" name="Freeform 17">
            <a:extLst>
              <a:ext uri="{FF2B5EF4-FFF2-40B4-BE49-F238E27FC236}">
                <a16:creationId xmlns:a16="http://schemas.microsoft.com/office/drawing/2014/main" id="{C53208A6-B6B9-58CC-F5A2-272EC2482768}"/>
              </a:ext>
            </a:extLst>
          </p:cNvPr>
          <p:cNvSpPr>
            <a:spLocks/>
          </p:cNvSpPr>
          <p:nvPr/>
        </p:nvSpPr>
        <p:spPr bwMode="auto">
          <a:xfrm>
            <a:off x="4971583" y="2188287"/>
            <a:ext cx="1034719" cy="1319015"/>
          </a:xfrm>
          <a:custGeom>
            <a:avLst/>
            <a:gdLst>
              <a:gd name="T0" fmla="*/ 0 w 1183"/>
              <a:gd name="T1" fmla="*/ 574 h 1515"/>
              <a:gd name="T2" fmla="*/ 114 w 1183"/>
              <a:gd name="T3" fmla="*/ 442 h 1515"/>
              <a:gd name="T4" fmla="*/ 240 w 1183"/>
              <a:gd name="T5" fmla="*/ 333 h 1515"/>
              <a:gd name="T6" fmla="*/ 377 w 1183"/>
              <a:gd name="T7" fmla="*/ 236 h 1515"/>
              <a:gd name="T8" fmla="*/ 526 w 1183"/>
              <a:gd name="T9" fmla="*/ 150 h 1515"/>
              <a:gd name="T10" fmla="*/ 680 w 1183"/>
              <a:gd name="T11" fmla="*/ 86 h 1515"/>
              <a:gd name="T12" fmla="*/ 846 w 1183"/>
              <a:gd name="T13" fmla="*/ 40 h 1515"/>
              <a:gd name="T14" fmla="*/ 1012 w 1183"/>
              <a:gd name="T15" fmla="*/ 12 h 1515"/>
              <a:gd name="T16" fmla="*/ 1183 w 1183"/>
              <a:gd name="T17" fmla="*/ 0 h 1515"/>
              <a:gd name="T18" fmla="*/ 1183 w 1183"/>
              <a:gd name="T19" fmla="*/ 1515 h 1515"/>
              <a:gd name="T20" fmla="*/ 0 w 1183"/>
              <a:gd name="T21" fmla="*/ 574 h 15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183" h="1515">
                <a:moveTo>
                  <a:pt x="0" y="574"/>
                </a:moveTo>
                <a:lnTo>
                  <a:pt x="114" y="442"/>
                </a:lnTo>
                <a:lnTo>
                  <a:pt x="240" y="333"/>
                </a:lnTo>
                <a:lnTo>
                  <a:pt x="377" y="236"/>
                </a:lnTo>
                <a:lnTo>
                  <a:pt x="526" y="150"/>
                </a:lnTo>
                <a:lnTo>
                  <a:pt x="680" y="86"/>
                </a:lnTo>
                <a:lnTo>
                  <a:pt x="846" y="40"/>
                </a:lnTo>
                <a:lnTo>
                  <a:pt x="1012" y="12"/>
                </a:lnTo>
                <a:lnTo>
                  <a:pt x="1183" y="0"/>
                </a:lnTo>
                <a:lnTo>
                  <a:pt x="1183" y="1515"/>
                </a:lnTo>
                <a:lnTo>
                  <a:pt x="0" y="574"/>
                </a:lnTo>
                <a:close/>
              </a:path>
            </a:pathLst>
          </a:custGeom>
          <a:solidFill>
            <a:schemeClr val="bg1"/>
          </a:solidFill>
          <a:ln w="571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sp>
        <p:nvSpPr>
          <p:cNvPr id="20" name="Block Arc 19">
            <a:extLst>
              <a:ext uri="{FF2B5EF4-FFF2-40B4-BE49-F238E27FC236}">
                <a16:creationId xmlns:a16="http://schemas.microsoft.com/office/drawing/2014/main" id="{D7738307-0282-7A6D-1968-02DC9755326A}"/>
              </a:ext>
            </a:extLst>
          </p:cNvPr>
          <p:cNvSpPr>
            <a:spLocks/>
          </p:cNvSpPr>
          <p:nvPr/>
        </p:nvSpPr>
        <p:spPr>
          <a:xfrm rot="21543285" flipH="1">
            <a:off x="4481031" y="2028086"/>
            <a:ext cx="2883322" cy="2869228"/>
          </a:xfrm>
          <a:prstGeom prst="blockArc">
            <a:avLst>
              <a:gd name="adj1" fmla="val 13230543"/>
              <a:gd name="adj2" fmla="val 15378897"/>
              <a:gd name="adj3" fmla="val 11039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21" name="Block Arc 20">
            <a:extLst>
              <a:ext uri="{FF2B5EF4-FFF2-40B4-BE49-F238E27FC236}">
                <a16:creationId xmlns:a16="http://schemas.microsoft.com/office/drawing/2014/main" id="{F7DC3768-43B5-FAEA-0186-1EBE46724262}"/>
              </a:ext>
            </a:extLst>
          </p:cNvPr>
          <p:cNvSpPr>
            <a:spLocks/>
          </p:cNvSpPr>
          <p:nvPr/>
        </p:nvSpPr>
        <p:spPr>
          <a:xfrm rot="15415171">
            <a:off x="4557077" y="2113107"/>
            <a:ext cx="2772308" cy="2689693"/>
          </a:xfrm>
          <a:prstGeom prst="blockArc">
            <a:avLst>
              <a:gd name="adj1" fmla="val 13499708"/>
              <a:gd name="adj2" fmla="val 15378897"/>
              <a:gd name="adj3" fmla="val 11039"/>
            </a:avLst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22" name="Block Arc 21">
            <a:extLst>
              <a:ext uri="{FF2B5EF4-FFF2-40B4-BE49-F238E27FC236}">
                <a16:creationId xmlns:a16="http://schemas.microsoft.com/office/drawing/2014/main" id="{F147F71D-55FB-CA57-9074-6528A40B7FE9}"/>
              </a:ext>
            </a:extLst>
          </p:cNvPr>
          <p:cNvSpPr>
            <a:spLocks/>
          </p:cNvSpPr>
          <p:nvPr/>
        </p:nvSpPr>
        <p:spPr>
          <a:xfrm rot="12735389">
            <a:off x="4658822" y="2348400"/>
            <a:ext cx="2628028" cy="2539120"/>
          </a:xfrm>
          <a:prstGeom prst="blockArc">
            <a:avLst>
              <a:gd name="adj1" fmla="val 12992370"/>
              <a:gd name="adj2" fmla="val 15378897"/>
              <a:gd name="adj3" fmla="val 11039"/>
            </a:avLst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21B9B91-A806-17CC-B486-39899BCFE274}"/>
              </a:ext>
            </a:extLst>
          </p:cNvPr>
          <p:cNvSpPr txBox="1">
            <a:spLocks/>
          </p:cNvSpPr>
          <p:nvPr/>
        </p:nvSpPr>
        <p:spPr>
          <a:xfrm>
            <a:off x="7674221" y="1552679"/>
            <a:ext cx="2868064" cy="2462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lvl="0">
              <a:defRPr/>
            </a:pPr>
            <a:r>
              <a:rPr lang="en-US" sz="1600" b="1" dirty="0">
                <a:solidFill>
                  <a:schemeClr val="accent1"/>
                </a:solidFill>
                <a:latin typeface="+mn-lt"/>
                <a:cs typeface="Calibri" panose="020F0502020204030204" pitchFamily="34" charset="0"/>
              </a:rPr>
              <a:t>HEADING</a:t>
            </a:r>
            <a:endParaRPr lang="en-CA" sz="1600" b="1" dirty="0">
              <a:solidFill>
                <a:schemeClr val="accent1"/>
              </a:solidFill>
              <a:latin typeface="+mn-lt"/>
              <a:ea typeface="ＭＳ Ｐゴシック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F5F6B5E-CE24-F6AF-BC5F-88F887FC6540}"/>
              </a:ext>
            </a:extLst>
          </p:cNvPr>
          <p:cNvSpPr txBox="1">
            <a:spLocks/>
          </p:cNvSpPr>
          <p:nvPr/>
        </p:nvSpPr>
        <p:spPr>
          <a:xfrm>
            <a:off x="7674221" y="1833507"/>
            <a:ext cx="286806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defRPr/>
            </a:pPr>
            <a:r>
              <a:rPr lang="en-IN" sz="1600" dirty="0">
                <a:latin typeface="+mn-lt"/>
                <a:cs typeface="Calibri" panose="020F0502020204030204" pitchFamily="34" charset="0"/>
              </a:rPr>
              <a:t>Insert your text here Insert your text here Insert your text</a:t>
            </a:r>
            <a:endParaRPr lang="en-CA" sz="1600" dirty="0">
              <a:latin typeface="+mn-lt"/>
              <a:ea typeface="ＭＳ Ｐゴシック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18F208B-8152-4BB7-06E8-E65F25792018}"/>
              </a:ext>
            </a:extLst>
          </p:cNvPr>
          <p:cNvGrpSpPr/>
          <p:nvPr/>
        </p:nvGrpSpPr>
        <p:grpSpPr>
          <a:xfrm>
            <a:off x="8430942" y="2689549"/>
            <a:ext cx="2868064" cy="773271"/>
            <a:chOff x="8430942" y="2689549"/>
            <a:chExt cx="2868064" cy="773271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1E242F86-A07F-63D9-1320-11F9F82170D7}"/>
                </a:ext>
              </a:extLst>
            </p:cNvPr>
            <p:cNvSpPr txBox="1">
              <a:spLocks/>
            </p:cNvSpPr>
            <p:nvPr/>
          </p:nvSpPr>
          <p:spPr>
            <a:xfrm>
              <a:off x="8430942" y="2689549"/>
              <a:ext cx="2868064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>
              <a:defPPr>
                <a:defRPr lang="en-US"/>
              </a:defPPr>
              <a:lvl1pPr lvl="0" algn="r">
                <a:defRPr b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algn="l"/>
              <a:r>
                <a:rPr lang="en-CA" sz="1600" dirty="0">
                  <a:solidFill>
                    <a:schemeClr val="accent2"/>
                  </a:solidFill>
                  <a:latin typeface="+mn-lt"/>
                  <a:cs typeface="Calibri" panose="020F0502020204030204" pitchFamily="34" charset="0"/>
                </a:rPr>
                <a:t>HEADING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4F8130F8-8890-D989-F793-DDF719673CA7}"/>
                </a:ext>
              </a:extLst>
            </p:cNvPr>
            <p:cNvSpPr txBox="1">
              <a:spLocks/>
            </p:cNvSpPr>
            <p:nvPr/>
          </p:nvSpPr>
          <p:spPr>
            <a:xfrm>
              <a:off x="8430942" y="2970377"/>
              <a:ext cx="2868064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>
                <a:defRPr/>
              </a:pPr>
              <a:r>
                <a:rPr lang="en-IN" sz="1600" dirty="0">
                  <a:latin typeface="+mn-lt"/>
                  <a:cs typeface="Calibri" panose="020F0502020204030204" pitchFamily="34" charset="0"/>
                </a:rPr>
                <a:t>Insert your text here Insert your text here Insert your text</a:t>
              </a:r>
              <a:endParaRPr lang="en-CA" sz="1600" dirty="0">
                <a:latin typeface="+mn-lt"/>
                <a:ea typeface="ＭＳ Ｐゴシック"/>
              </a:endParaRPr>
            </a:p>
          </p:txBody>
        </p:sp>
      </p:grpSp>
      <p:sp>
        <p:nvSpPr>
          <p:cNvPr id="28" name="Oval 27">
            <a:extLst>
              <a:ext uri="{FF2B5EF4-FFF2-40B4-BE49-F238E27FC236}">
                <a16:creationId xmlns:a16="http://schemas.microsoft.com/office/drawing/2014/main" id="{3FB17CD1-F674-074A-8DD0-D17AA627F284}"/>
              </a:ext>
            </a:extLst>
          </p:cNvPr>
          <p:cNvSpPr/>
          <p:nvPr/>
        </p:nvSpPr>
        <p:spPr>
          <a:xfrm flipH="1">
            <a:off x="6499035" y="1454867"/>
            <a:ext cx="872198" cy="872198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635F971-068F-CDCF-41F9-04BF51086465}"/>
              </a:ext>
            </a:extLst>
          </p:cNvPr>
          <p:cNvSpPr txBox="1"/>
          <p:nvPr/>
        </p:nvSpPr>
        <p:spPr>
          <a:xfrm>
            <a:off x="6658820" y="1529049"/>
            <a:ext cx="552628" cy="677108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defRPr/>
            </a:pPr>
            <a:r>
              <a:rPr lang="en-CA" sz="4400" dirty="0">
                <a:solidFill>
                  <a:schemeClr val="bg1"/>
                </a:solidFill>
                <a:latin typeface="+mn-lt"/>
                <a:ea typeface="ＭＳ Ｐゴシック"/>
              </a:rPr>
              <a:t>1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B626355F-6C0E-BA30-CA72-1C1C30F12905}"/>
              </a:ext>
            </a:extLst>
          </p:cNvPr>
          <p:cNvSpPr/>
          <p:nvPr/>
        </p:nvSpPr>
        <p:spPr>
          <a:xfrm>
            <a:off x="4109485" y="4185888"/>
            <a:ext cx="872198" cy="872198"/>
          </a:xfrm>
          <a:prstGeom prst="ellipse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34D1BEB-C07A-6E44-6AF1-00CCCE1E54DF}"/>
              </a:ext>
            </a:extLst>
          </p:cNvPr>
          <p:cNvSpPr txBox="1"/>
          <p:nvPr/>
        </p:nvSpPr>
        <p:spPr>
          <a:xfrm>
            <a:off x="4269270" y="4206060"/>
            <a:ext cx="552628" cy="677108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defRPr/>
            </a:pPr>
            <a:r>
              <a:rPr lang="en-CA" sz="4400" dirty="0">
                <a:solidFill>
                  <a:schemeClr val="bg1"/>
                </a:solidFill>
                <a:latin typeface="+mn-lt"/>
                <a:ea typeface="ＭＳ Ｐゴシック"/>
              </a:rPr>
              <a:t>5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9FCAE591-BA88-C558-565D-2C827F7E6A84}"/>
              </a:ext>
            </a:extLst>
          </p:cNvPr>
          <p:cNvSpPr/>
          <p:nvPr/>
        </p:nvSpPr>
        <p:spPr>
          <a:xfrm flipH="1" flipV="1">
            <a:off x="7057074" y="4182169"/>
            <a:ext cx="872198" cy="872198"/>
          </a:xfrm>
          <a:prstGeom prst="ellipse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2CEAB15-98B9-3F41-9141-DF947B1DEC3F}"/>
              </a:ext>
            </a:extLst>
          </p:cNvPr>
          <p:cNvSpPr txBox="1"/>
          <p:nvPr/>
        </p:nvSpPr>
        <p:spPr>
          <a:xfrm>
            <a:off x="7216859" y="4279714"/>
            <a:ext cx="552628" cy="677108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defRPr/>
            </a:pPr>
            <a:r>
              <a:rPr lang="en-CA" sz="4400" dirty="0">
                <a:solidFill>
                  <a:schemeClr val="bg1"/>
                </a:solidFill>
                <a:latin typeface="+mn-lt"/>
                <a:ea typeface="ＭＳ Ｐゴシック"/>
              </a:rPr>
              <a:t>3</a:t>
            </a:r>
          </a:p>
        </p:txBody>
      </p:sp>
      <p:sp>
        <p:nvSpPr>
          <p:cNvPr id="34" name="Block Arc 33">
            <a:extLst>
              <a:ext uri="{FF2B5EF4-FFF2-40B4-BE49-F238E27FC236}">
                <a16:creationId xmlns:a16="http://schemas.microsoft.com/office/drawing/2014/main" id="{96FEF340-7547-C25E-54AA-E38E5476819F}"/>
              </a:ext>
            </a:extLst>
          </p:cNvPr>
          <p:cNvSpPr>
            <a:spLocks/>
          </p:cNvSpPr>
          <p:nvPr/>
        </p:nvSpPr>
        <p:spPr>
          <a:xfrm rot="21372587">
            <a:off x="4703785" y="2079406"/>
            <a:ext cx="2772308" cy="2689693"/>
          </a:xfrm>
          <a:prstGeom prst="blockArc">
            <a:avLst>
              <a:gd name="adj1" fmla="val 13562647"/>
              <a:gd name="adj2" fmla="val 15378897"/>
              <a:gd name="adj3" fmla="val 11039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35" name="Block Arc 34">
            <a:extLst>
              <a:ext uri="{FF2B5EF4-FFF2-40B4-BE49-F238E27FC236}">
                <a16:creationId xmlns:a16="http://schemas.microsoft.com/office/drawing/2014/main" id="{C2BCC308-7DAC-CCA0-2275-05A99FE76FDB}"/>
              </a:ext>
            </a:extLst>
          </p:cNvPr>
          <p:cNvSpPr>
            <a:spLocks/>
          </p:cNvSpPr>
          <p:nvPr/>
        </p:nvSpPr>
        <p:spPr>
          <a:xfrm rot="2899050" flipH="1">
            <a:off x="4835165" y="2195624"/>
            <a:ext cx="2600610" cy="2680772"/>
          </a:xfrm>
          <a:prstGeom prst="blockArc">
            <a:avLst>
              <a:gd name="adj1" fmla="val 13544776"/>
              <a:gd name="adj2" fmla="val 15755140"/>
              <a:gd name="adj3" fmla="val 15807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6D88B64F-DB96-ECF6-705B-BC5AF59EC63C}"/>
              </a:ext>
            </a:extLst>
          </p:cNvPr>
          <p:cNvSpPr/>
          <p:nvPr/>
        </p:nvSpPr>
        <p:spPr>
          <a:xfrm flipH="1">
            <a:off x="7407117" y="2611844"/>
            <a:ext cx="872198" cy="872198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C7A9507-E570-6EAF-15C8-3506D53C0D10}"/>
              </a:ext>
            </a:extLst>
          </p:cNvPr>
          <p:cNvSpPr txBox="1"/>
          <p:nvPr/>
        </p:nvSpPr>
        <p:spPr>
          <a:xfrm>
            <a:off x="7566902" y="2686026"/>
            <a:ext cx="552628" cy="677108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defRPr/>
            </a:pPr>
            <a:r>
              <a:rPr lang="en-CA" sz="4400" dirty="0">
                <a:solidFill>
                  <a:schemeClr val="bg1"/>
                </a:solidFill>
                <a:latin typeface="+mn-lt"/>
                <a:ea typeface="ＭＳ Ｐゴシック"/>
              </a:rPr>
              <a:t>2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0C275E08-67FC-8AC4-B7CE-B01F3A81E6B6}"/>
              </a:ext>
            </a:extLst>
          </p:cNvPr>
          <p:cNvSpPr/>
          <p:nvPr/>
        </p:nvSpPr>
        <p:spPr>
          <a:xfrm flipH="1" flipV="1">
            <a:off x="5563607" y="4902928"/>
            <a:ext cx="872198" cy="872198"/>
          </a:xfrm>
          <a:prstGeom prst="ellipse">
            <a:avLst/>
          </a:prstGeom>
          <a:solidFill>
            <a:schemeClr val="accent4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0DC9E7F-3C19-3027-FA93-846B94971074}"/>
              </a:ext>
            </a:extLst>
          </p:cNvPr>
          <p:cNvSpPr txBox="1"/>
          <p:nvPr/>
        </p:nvSpPr>
        <p:spPr>
          <a:xfrm>
            <a:off x="5723392" y="5000473"/>
            <a:ext cx="552628" cy="677108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defRPr/>
            </a:pPr>
            <a:r>
              <a:rPr lang="en-CA" sz="4400" dirty="0">
                <a:solidFill>
                  <a:schemeClr val="bg1"/>
                </a:solidFill>
                <a:latin typeface="+mn-lt"/>
                <a:ea typeface="ＭＳ Ｐゴシック"/>
              </a:rPr>
              <a:t>4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CCFF264D-D79B-C08F-67E8-C1F13B0AB077}"/>
              </a:ext>
            </a:extLst>
          </p:cNvPr>
          <p:cNvGrpSpPr/>
          <p:nvPr/>
        </p:nvGrpSpPr>
        <p:grpSpPr>
          <a:xfrm>
            <a:off x="8057439" y="4277469"/>
            <a:ext cx="2868064" cy="773271"/>
            <a:chOff x="8057439" y="4277469"/>
            <a:chExt cx="2868064" cy="773271"/>
          </a:xfrm>
        </p:grpSpPr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792A78AB-6558-7B6E-33CC-6AC6AEE154EB}"/>
                </a:ext>
              </a:extLst>
            </p:cNvPr>
            <p:cNvSpPr txBox="1">
              <a:spLocks/>
            </p:cNvSpPr>
            <p:nvPr/>
          </p:nvSpPr>
          <p:spPr>
            <a:xfrm>
              <a:off x="8057439" y="4277469"/>
              <a:ext cx="2868064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>
              <a:defPPr>
                <a:defRPr lang="en-US"/>
              </a:defPPr>
              <a:lvl1pPr lvl="0" algn="r">
                <a:defRPr b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algn="l"/>
              <a:r>
                <a:rPr lang="en-CA" sz="1600" dirty="0">
                  <a:solidFill>
                    <a:schemeClr val="accent3"/>
                  </a:solidFill>
                  <a:latin typeface="+mn-lt"/>
                  <a:cs typeface="Calibri" panose="020F0502020204030204" pitchFamily="34" charset="0"/>
                </a:rPr>
                <a:t>HEADING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5A10F130-F7AC-7DC8-6FC5-5013D03E9468}"/>
                </a:ext>
              </a:extLst>
            </p:cNvPr>
            <p:cNvSpPr txBox="1">
              <a:spLocks/>
            </p:cNvSpPr>
            <p:nvPr/>
          </p:nvSpPr>
          <p:spPr>
            <a:xfrm>
              <a:off x="8057439" y="4558297"/>
              <a:ext cx="2868064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>
                <a:defRPr/>
              </a:pPr>
              <a:r>
                <a:rPr lang="en-IN" sz="1600" dirty="0">
                  <a:latin typeface="+mn-lt"/>
                  <a:cs typeface="Calibri" panose="020F0502020204030204" pitchFamily="34" charset="0"/>
                </a:rPr>
                <a:t>Insert your text here Insert your text here Insert your text</a:t>
              </a:r>
              <a:endParaRPr lang="en-CA" sz="1600" dirty="0">
                <a:latin typeface="+mn-lt"/>
                <a:ea typeface="ＭＳ Ｐゴシック"/>
              </a:endParaRPr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DDB873DF-9794-A87C-3724-47AEEE938E50}"/>
              </a:ext>
            </a:extLst>
          </p:cNvPr>
          <p:cNvSpPr txBox="1">
            <a:spLocks/>
          </p:cNvSpPr>
          <p:nvPr/>
        </p:nvSpPr>
        <p:spPr>
          <a:xfrm>
            <a:off x="1099265" y="4051783"/>
            <a:ext cx="2878882" cy="2462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lvl="0" algn="r">
              <a:defRPr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CA" sz="1600" dirty="0">
                <a:solidFill>
                  <a:schemeClr val="accent5"/>
                </a:solidFill>
                <a:latin typeface="+mn-lt"/>
                <a:cs typeface="Calibri" panose="020F0502020204030204" pitchFamily="34" charset="0"/>
              </a:rPr>
              <a:t>HEADING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EE20A36-99C0-CD26-D173-E55E0F289E53}"/>
              </a:ext>
            </a:extLst>
          </p:cNvPr>
          <p:cNvSpPr txBox="1">
            <a:spLocks/>
          </p:cNvSpPr>
          <p:nvPr/>
        </p:nvSpPr>
        <p:spPr>
          <a:xfrm>
            <a:off x="1099265" y="4332611"/>
            <a:ext cx="287888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r">
              <a:defRPr/>
            </a:pPr>
            <a:r>
              <a:rPr lang="en-IN" sz="1600" dirty="0">
                <a:latin typeface="+mn-lt"/>
                <a:cs typeface="Calibri" panose="020F0502020204030204" pitchFamily="34" charset="0"/>
              </a:rPr>
              <a:t>Insert your text here Insert your text here Insert your text</a:t>
            </a:r>
            <a:endParaRPr lang="en-CA" sz="1600" dirty="0">
              <a:latin typeface="+mn-lt"/>
              <a:ea typeface="ＭＳ Ｐゴシック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8F10AC9F-A28B-8869-9B78-99967C409FCF}"/>
              </a:ext>
            </a:extLst>
          </p:cNvPr>
          <p:cNvSpPr txBox="1">
            <a:spLocks/>
          </p:cNvSpPr>
          <p:nvPr/>
        </p:nvSpPr>
        <p:spPr>
          <a:xfrm>
            <a:off x="708502" y="2802231"/>
            <a:ext cx="2878882" cy="2462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lvl="0" algn="r">
              <a:defRPr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CA" sz="1600" dirty="0">
                <a:latin typeface="+mn-lt"/>
                <a:cs typeface="Calibri" panose="020F0502020204030204" pitchFamily="34" charset="0"/>
              </a:rPr>
              <a:t>HEADING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109A349-43B3-839F-0177-4183DDAB1C91}"/>
              </a:ext>
            </a:extLst>
          </p:cNvPr>
          <p:cNvSpPr txBox="1">
            <a:spLocks/>
          </p:cNvSpPr>
          <p:nvPr/>
        </p:nvSpPr>
        <p:spPr>
          <a:xfrm>
            <a:off x="708502" y="3083059"/>
            <a:ext cx="287888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r">
              <a:defRPr/>
            </a:pPr>
            <a:r>
              <a:rPr lang="en-IN" sz="1600" dirty="0">
                <a:latin typeface="+mn-lt"/>
                <a:cs typeface="Calibri" panose="020F0502020204030204" pitchFamily="34" charset="0"/>
              </a:rPr>
              <a:t>Insert your text here Insert your text here Insert your text</a:t>
            </a:r>
            <a:endParaRPr lang="en-CA" sz="1600" dirty="0">
              <a:latin typeface="+mn-lt"/>
              <a:ea typeface="ＭＳ Ｐゴシック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E5A551B6-BBCE-8DD1-0A14-2A38548A5B76}"/>
              </a:ext>
            </a:extLst>
          </p:cNvPr>
          <p:cNvSpPr/>
          <p:nvPr/>
        </p:nvSpPr>
        <p:spPr>
          <a:xfrm>
            <a:off x="3745551" y="2617147"/>
            <a:ext cx="872198" cy="872198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14FD877B-15F9-E169-9BFD-ABF7FE12C7F8}"/>
              </a:ext>
            </a:extLst>
          </p:cNvPr>
          <p:cNvSpPr txBox="1"/>
          <p:nvPr/>
        </p:nvSpPr>
        <p:spPr>
          <a:xfrm>
            <a:off x="3905336" y="2714692"/>
            <a:ext cx="552628" cy="677108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defRPr/>
            </a:pPr>
            <a:r>
              <a:rPr lang="en-CA" sz="4400" dirty="0">
                <a:solidFill>
                  <a:schemeClr val="bg1"/>
                </a:solidFill>
                <a:latin typeface="+mn-lt"/>
                <a:ea typeface="ＭＳ Ｐゴシック"/>
              </a:rPr>
              <a:t>6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EF10C1E-017E-1792-32BC-A9C8CA4DC573}"/>
              </a:ext>
            </a:extLst>
          </p:cNvPr>
          <p:cNvSpPr txBox="1">
            <a:spLocks/>
          </p:cNvSpPr>
          <p:nvPr/>
        </p:nvSpPr>
        <p:spPr>
          <a:xfrm>
            <a:off x="2632842" y="5301335"/>
            <a:ext cx="2878882" cy="2462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lvl="0" algn="r">
              <a:defRPr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CA" sz="1600" dirty="0">
                <a:solidFill>
                  <a:schemeClr val="accent4"/>
                </a:solidFill>
                <a:latin typeface="+mn-lt"/>
                <a:cs typeface="Calibri" panose="020F0502020204030204" pitchFamily="34" charset="0"/>
              </a:rPr>
              <a:t>HEADING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F32477CF-F5ED-DAB1-CACE-BB79818B4084}"/>
              </a:ext>
            </a:extLst>
          </p:cNvPr>
          <p:cNvSpPr txBox="1">
            <a:spLocks/>
          </p:cNvSpPr>
          <p:nvPr/>
        </p:nvSpPr>
        <p:spPr>
          <a:xfrm>
            <a:off x="2632842" y="5582163"/>
            <a:ext cx="287888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r">
              <a:defRPr/>
            </a:pPr>
            <a:r>
              <a:rPr lang="en-IN" sz="1600" dirty="0">
                <a:latin typeface="+mn-lt"/>
                <a:cs typeface="Calibri" panose="020F0502020204030204" pitchFamily="34" charset="0"/>
              </a:rPr>
              <a:t>Insert your text here Insert your text here Insert your text</a:t>
            </a:r>
            <a:endParaRPr lang="en-CA" sz="1600" dirty="0">
              <a:latin typeface="+mn-lt"/>
              <a:ea typeface="ＭＳ Ｐゴシック"/>
            </a:endParaRPr>
          </a:p>
        </p:txBody>
      </p:sp>
      <p:sp>
        <p:nvSpPr>
          <p:cNvPr id="51" name="Block Arc 50">
            <a:extLst>
              <a:ext uri="{FF2B5EF4-FFF2-40B4-BE49-F238E27FC236}">
                <a16:creationId xmlns:a16="http://schemas.microsoft.com/office/drawing/2014/main" id="{A75C92F0-BD0B-627D-46DE-A437513A1784}"/>
              </a:ext>
            </a:extLst>
          </p:cNvPr>
          <p:cNvSpPr>
            <a:spLocks/>
          </p:cNvSpPr>
          <p:nvPr/>
        </p:nvSpPr>
        <p:spPr>
          <a:xfrm rot="9600000">
            <a:off x="4763482" y="2255431"/>
            <a:ext cx="2570405" cy="2607542"/>
          </a:xfrm>
          <a:prstGeom prst="blockArc">
            <a:avLst>
              <a:gd name="adj1" fmla="val 13215851"/>
              <a:gd name="adj2" fmla="val 15378897"/>
              <a:gd name="adj3" fmla="val 11039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52" name="Block Arc 51">
            <a:extLst>
              <a:ext uri="{FF2B5EF4-FFF2-40B4-BE49-F238E27FC236}">
                <a16:creationId xmlns:a16="http://schemas.microsoft.com/office/drawing/2014/main" id="{5EA97C79-A092-5243-7E82-D61BF0EA59A4}"/>
              </a:ext>
            </a:extLst>
          </p:cNvPr>
          <p:cNvSpPr>
            <a:spLocks/>
          </p:cNvSpPr>
          <p:nvPr/>
        </p:nvSpPr>
        <p:spPr>
          <a:xfrm rot="18575698">
            <a:off x="4612567" y="2108781"/>
            <a:ext cx="2772308" cy="2689693"/>
          </a:xfrm>
          <a:prstGeom prst="blockArc">
            <a:avLst>
              <a:gd name="adj1" fmla="val 13499708"/>
              <a:gd name="adj2" fmla="val 15378897"/>
              <a:gd name="adj3" fmla="val 11039"/>
            </a:avLst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6D3BBF47-4E57-2FF3-9505-94B43141B879}"/>
              </a:ext>
            </a:extLst>
          </p:cNvPr>
          <p:cNvSpPr/>
          <p:nvPr/>
        </p:nvSpPr>
        <p:spPr>
          <a:xfrm>
            <a:off x="4845862" y="2379522"/>
            <a:ext cx="2260782" cy="226078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FE80F8C0-01C7-CC76-6A57-842C73A318A4}"/>
              </a:ext>
            </a:extLst>
          </p:cNvPr>
          <p:cNvSpPr txBox="1"/>
          <p:nvPr/>
        </p:nvSpPr>
        <p:spPr>
          <a:xfrm>
            <a:off x="5067465" y="3315873"/>
            <a:ext cx="1817579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n-CA" sz="2400" b="1" dirty="0">
                <a:latin typeface="+mn-lt"/>
              </a:rPr>
              <a:t>HEADING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5B399D28-A10C-E8A3-DB63-09BD295A1299}"/>
              </a:ext>
            </a:extLst>
          </p:cNvPr>
          <p:cNvSpPr/>
          <p:nvPr/>
        </p:nvSpPr>
        <p:spPr>
          <a:xfrm>
            <a:off x="5091699" y="2662150"/>
            <a:ext cx="1769108" cy="1769111"/>
          </a:xfrm>
          <a:prstGeom prst="ellipse">
            <a:avLst/>
          </a:pr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2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66241B2C-41B5-9ACA-DF60-37B3557D44FD}"/>
              </a:ext>
            </a:extLst>
          </p:cNvPr>
          <p:cNvSpPr/>
          <p:nvPr/>
        </p:nvSpPr>
        <p:spPr>
          <a:xfrm>
            <a:off x="4762530" y="1428952"/>
            <a:ext cx="872198" cy="872198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A11C9841-29C3-975E-1244-EAF33F7EEB4E}"/>
              </a:ext>
            </a:extLst>
          </p:cNvPr>
          <p:cNvSpPr txBox="1"/>
          <p:nvPr/>
        </p:nvSpPr>
        <p:spPr>
          <a:xfrm>
            <a:off x="4922315" y="1449124"/>
            <a:ext cx="552628" cy="677108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defRPr/>
            </a:pPr>
            <a:r>
              <a:rPr lang="en-CA" sz="4400" dirty="0">
                <a:solidFill>
                  <a:schemeClr val="bg1"/>
                </a:solidFill>
                <a:latin typeface="+mn-lt"/>
                <a:ea typeface="ＭＳ Ｐゴシック"/>
              </a:rPr>
              <a:t>7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CB2E4E9E-D3C8-C879-C636-BD746CDEAA35}"/>
              </a:ext>
            </a:extLst>
          </p:cNvPr>
          <p:cNvSpPr txBox="1">
            <a:spLocks/>
          </p:cNvSpPr>
          <p:nvPr/>
        </p:nvSpPr>
        <p:spPr>
          <a:xfrm>
            <a:off x="1738229" y="1552679"/>
            <a:ext cx="2878882" cy="2462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lvl="0" algn="r">
              <a:defRPr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CA" sz="1600" dirty="0">
                <a:solidFill>
                  <a:schemeClr val="accent2"/>
                </a:solidFill>
                <a:latin typeface="+mn-lt"/>
                <a:cs typeface="Calibri" panose="020F0502020204030204" pitchFamily="34" charset="0"/>
              </a:rPr>
              <a:t>HEADING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86D5B6D3-5F18-1CCE-CA1B-B56C6C2695E5}"/>
              </a:ext>
            </a:extLst>
          </p:cNvPr>
          <p:cNvSpPr txBox="1">
            <a:spLocks/>
          </p:cNvSpPr>
          <p:nvPr/>
        </p:nvSpPr>
        <p:spPr>
          <a:xfrm>
            <a:off x="1738229" y="1833507"/>
            <a:ext cx="287888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r">
              <a:defRPr/>
            </a:pPr>
            <a:r>
              <a:rPr lang="en-IN" sz="1600" dirty="0">
                <a:latin typeface="+mn-lt"/>
                <a:cs typeface="Calibri" panose="020F0502020204030204" pitchFamily="34" charset="0"/>
              </a:rPr>
              <a:t>Insert your text here Insert your text here Insert your text</a:t>
            </a:r>
            <a:endParaRPr lang="en-CA" sz="1600" dirty="0">
              <a:latin typeface="+mn-lt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2590721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20</TotalTime>
  <Words>94</Words>
  <Application>Microsoft Office PowerPoint</Application>
  <PresentationFormat>Widescreen</PresentationFormat>
  <Paragraphs>2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ＭＳ Ｐゴシック</vt:lpstr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Circ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831</cp:revision>
  <dcterms:created xsi:type="dcterms:W3CDTF">2021-03-31T02:49:57Z</dcterms:created>
  <dcterms:modified xsi:type="dcterms:W3CDTF">2025-10-15T03:44:30Z</dcterms:modified>
  <cp:category/>
</cp:coreProperties>
</file>